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94C765-70AA-4224-BA46-CBD13B84BE29}" v="9" dt="2023-07-13T20:05:37.5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Rosa, Crystal" userId="fb74c9b1-33bd-4af2-8565-ea2bdc65fe6b" providerId="ADAL" clId="{EB94C765-70AA-4224-BA46-CBD13B84BE29}"/>
    <pc:docChg chg="undo custSel modSld">
      <pc:chgData name="Rosa, Crystal" userId="fb74c9b1-33bd-4af2-8565-ea2bdc65fe6b" providerId="ADAL" clId="{EB94C765-70AA-4224-BA46-CBD13B84BE29}" dt="2023-07-13T20:06:19.058" v="136" actId="1076"/>
      <pc:docMkLst>
        <pc:docMk/>
      </pc:docMkLst>
      <pc:sldChg chg="modSp mod">
        <pc:chgData name="Rosa, Crystal" userId="fb74c9b1-33bd-4af2-8565-ea2bdc65fe6b" providerId="ADAL" clId="{EB94C765-70AA-4224-BA46-CBD13B84BE29}" dt="2023-07-13T19:51:16.468" v="23" actId="121"/>
        <pc:sldMkLst>
          <pc:docMk/>
          <pc:sldMk cId="1323482831" sldId="264"/>
        </pc:sldMkLst>
        <pc:spChg chg="mod">
          <ac:chgData name="Rosa, Crystal" userId="fb74c9b1-33bd-4af2-8565-ea2bdc65fe6b" providerId="ADAL" clId="{EB94C765-70AA-4224-BA46-CBD13B84BE29}" dt="2023-07-13T19:51:16.468" v="23" actId="121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Rosa, Crystal" userId="fb74c9b1-33bd-4af2-8565-ea2bdc65fe6b" providerId="ADAL" clId="{EB94C765-70AA-4224-BA46-CBD13B84BE29}" dt="2023-07-13T19:51:07.855" v="21" actId="121"/>
          <ac:spMkLst>
            <pc:docMk/>
            <pc:sldMk cId="1323482831" sldId="264"/>
            <ac:spMk id="5" creationId="{27CC345D-F1D6-4C2C-A33C-0C48F59A7642}"/>
          </ac:spMkLst>
        </pc:spChg>
        <pc:spChg chg="mod">
          <ac:chgData name="Rosa, Crystal" userId="fb74c9b1-33bd-4af2-8565-ea2bdc65fe6b" providerId="ADAL" clId="{EB94C765-70AA-4224-BA46-CBD13B84BE29}" dt="2023-07-13T19:51:12.396" v="22" actId="121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EB94C765-70AA-4224-BA46-CBD13B84BE29}" dt="2023-07-13T20:00:49.749" v="79" actId="1076"/>
        <pc:sldMkLst>
          <pc:docMk/>
          <pc:sldMk cId="443159585" sldId="295"/>
        </pc:sldMkLst>
        <pc:spChg chg="mod">
          <ac:chgData name="Rosa, Crystal" userId="fb74c9b1-33bd-4af2-8565-ea2bdc65fe6b" providerId="ADAL" clId="{EB94C765-70AA-4224-BA46-CBD13B84BE29}" dt="2023-07-13T20:00:45.022" v="77" actId="14100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0:32.051" v="74" actId="121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0:49.749" v="79" actId="1076"/>
          <ac:spMkLst>
            <pc:docMk/>
            <pc:sldMk cId="443159585" sldId="295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1:39.435" v="86" actId="14100"/>
        <pc:sldMkLst>
          <pc:docMk/>
          <pc:sldMk cId="2346477064" sldId="296"/>
        </pc:sldMkLst>
        <pc:spChg chg="mod">
          <ac:chgData name="Rosa, Crystal" userId="fb74c9b1-33bd-4af2-8565-ea2bdc65fe6b" providerId="ADAL" clId="{EB94C765-70AA-4224-BA46-CBD13B84BE29}" dt="2023-07-13T20:01:18.483" v="82" actId="121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1:23.981" v="83" actId="14100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1:31.351" v="84" actId="1076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Rosa, Crystal" userId="fb74c9b1-33bd-4af2-8565-ea2bdc65fe6b" providerId="ADAL" clId="{EB94C765-70AA-4224-BA46-CBD13B84BE29}" dt="2023-07-13T20:01:39.435" v="86" actId="14100"/>
          <ac:spMkLst>
            <pc:docMk/>
            <pc:sldMk cId="2346477064" sldId="296"/>
            <ac:spMk id="18" creationId="{131F2AF7-DFEE-A6A3-7AB5-0606F78CD218}"/>
          </ac:spMkLst>
        </pc:spChg>
      </pc:sldChg>
      <pc:sldChg chg="modSp mod">
        <pc:chgData name="Rosa, Crystal" userId="fb74c9b1-33bd-4af2-8565-ea2bdc65fe6b" providerId="ADAL" clId="{EB94C765-70AA-4224-BA46-CBD13B84BE29}" dt="2023-07-13T20:02:21.222" v="93" actId="1076"/>
        <pc:sldMkLst>
          <pc:docMk/>
          <pc:sldMk cId="3259736002" sldId="297"/>
        </pc:sldMkLst>
        <pc:spChg chg="mod">
          <ac:chgData name="Rosa, Crystal" userId="fb74c9b1-33bd-4af2-8565-ea2bdc65fe6b" providerId="ADAL" clId="{EB94C765-70AA-4224-BA46-CBD13B84BE29}" dt="2023-07-13T20:02:14.775" v="92" actId="121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2:11.830" v="91" actId="121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2:08.341" v="90" actId="121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Rosa, Crystal" userId="fb74c9b1-33bd-4af2-8565-ea2bdc65fe6b" providerId="ADAL" clId="{EB94C765-70AA-4224-BA46-CBD13B84BE29}" dt="2023-07-13T20:02:21.222" v="93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4:27.454" v="113" actId="14100"/>
        <pc:sldMkLst>
          <pc:docMk/>
          <pc:sldMk cId="3755849851" sldId="298"/>
        </pc:sldMkLst>
        <pc:spChg chg="mod">
          <ac:chgData name="Rosa, Crystal" userId="fb74c9b1-33bd-4af2-8565-ea2bdc65fe6b" providerId="ADAL" clId="{EB94C765-70AA-4224-BA46-CBD13B84BE29}" dt="2023-07-13T20:04:27.454" v="113" actId="14100"/>
          <ac:spMkLst>
            <pc:docMk/>
            <pc:sldMk cId="3755849851" sldId="298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4:17.742" v="110" actId="121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4:25.057" v="112" actId="1076"/>
          <ac:spMkLst>
            <pc:docMk/>
            <pc:sldMk cId="3755849851" sldId="298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4:46.402" v="117" actId="14100"/>
        <pc:sldMkLst>
          <pc:docMk/>
          <pc:sldMk cId="343359655" sldId="300"/>
        </pc:sldMkLst>
        <pc:spChg chg="mod">
          <ac:chgData name="Rosa, Crystal" userId="fb74c9b1-33bd-4af2-8565-ea2bdc65fe6b" providerId="ADAL" clId="{EB94C765-70AA-4224-BA46-CBD13B84BE29}" dt="2023-07-13T20:04:46.402" v="117" actId="14100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4:35.292" v="114" actId="121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4:44.091" v="116" actId="1076"/>
          <ac:spMkLst>
            <pc:docMk/>
            <pc:sldMk cId="343359655" sldId="300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3:49.166" v="105" actId="14100"/>
        <pc:sldMkLst>
          <pc:docMk/>
          <pc:sldMk cId="813981643" sldId="301"/>
        </pc:sldMkLst>
        <pc:spChg chg="mod">
          <ac:chgData name="Rosa, Crystal" userId="fb74c9b1-33bd-4af2-8565-ea2bdc65fe6b" providerId="ADAL" clId="{EB94C765-70AA-4224-BA46-CBD13B84BE29}" dt="2023-07-13T20:03:38.002" v="102" actId="121"/>
          <ac:spMkLst>
            <pc:docMk/>
            <pc:sldMk cId="813981643" sldId="301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3:46.856" v="104" actId="1076"/>
          <ac:spMkLst>
            <pc:docMk/>
            <pc:sldMk cId="813981643" sldId="301"/>
            <ac:spMk id="6" creationId="{0038D609-7001-4947-92BB-A379E0414168}"/>
          </ac:spMkLst>
        </pc:spChg>
        <pc:spChg chg="mod">
          <ac:chgData name="Rosa, Crystal" userId="fb74c9b1-33bd-4af2-8565-ea2bdc65fe6b" providerId="ADAL" clId="{EB94C765-70AA-4224-BA46-CBD13B84BE29}" dt="2023-07-13T20:03:49.166" v="105" actId="14100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EB94C765-70AA-4224-BA46-CBD13B84BE29}" dt="2023-07-13T19:54:52.045" v="33" actId="14100"/>
        <pc:sldMkLst>
          <pc:docMk/>
          <pc:sldMk cId="780403188" sldId="302"/>
        </pc:sldMkLst>
        <pc:spChg chg="mod">
          <ac:chgData name="Rosa, Crystal" userId="fb74c9b1-33bd-4af2-8565-ea2bdc65fe6b" providerId="ADAL" clId="{EB94C765-70AA-4224-BA46-CBD13B84BE29}" dt="2023-07-13T19:52:03.028" v="26" actId="121"/>
          <ac:spMkLst>
            <pc:docMk/>
            <pc:sldMk cId="780403188" sldId="302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4:52.045" v="33" actId="14100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19:54:45.177" v="32" actId="1076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Rosa, Crystal" userId="fb74c9b1-33bd-4af2-8565-ea2bdc65fe6b" providerId="ADAL" clId="{EB94C765-70AA-4224-BA46-CBD13B84BE29}" dt="2023-07-13T19:57:24.804" v="48"/>
        <pc:sldMkLst>
          <pc:docMk/>
          <pc:sldMk cId="1650613911" sldId="303"/>
        </pc:sldMkLst>
        <pc:spChg chg="mod">
          <ac:chgData name="Rosa, Crystal" userId="fb74c9b1-33bd-4af2-8565-ea2bdc65fe6b" providerId="ADAL" clId="{EB94C765-70AA-4224-BA46-CBD13B84BE29}" dt="2023-07-13T19:56:45.251" v="44" actId="121"/>
          <ac:spMkLst>
            <pc:docMk/>
            <pc:sldMk cId="1650613911" sldId="303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4" creationId="{39CAB15A-E557-E834-FDBF-E6E97286C4B5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Rosa, Crystal" userId="fb74c9b1-33bd-4af2-8565-ea2bdc65fe6b" providerId="ADAL" clId="{EB94C765-70AA-4224-BA46-CBD13B84BE29}" dt="2023-07-13T19:56:58.743" v="46" actId="1076"/>
          <ac:spMkLst>
            <pc:docMk/>
            <pc:sldMk cId="1650613911" sldId="303"/>
            <ac:spMk id="6" creationId="{0038D609-7001-4947-92BB-A379E0414168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8" creationId="{8DE9A669-D776-4F40-B93F-5C8937EDB3CB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9" creationId="{BADF41E3-B302-4C05-B004-242B35D59BFB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Rosa, Crystal" userId="fb74c9b1-33bd-4af2-8565-ea2bdc65fe6b" providerId="ADAL" clId="{EB94C765-70AA-4224-BA46-CBD13B84BE29}" dt="2023-07-13T19:56:27.968" v="39" actId="33935"/>
          <ac:spMkLst>
            <pc:docMk/>
            <pc:sldMk cId="1650613911" sldId="303"/>
            <ac:spMk id="11" creationId="{80375151-8B20-3D8C-FEBF-EF4330089FFA}"/>
          </ac:spMkLst>
        </pc:spChg>
        <pc:grpChg chg="mod">
          <ac:chgData name="Rosa, Crystal" userId="fb74c9b1-33bd-4af2-8565-ea2bdc65fe6b" providerId="ADAL" clId="{EB94C765-70AA-4224-BA46-CBD13B84BE29}" dt="2023-07-13T19:56:27.968" v="39" actId="33935"/>
          <ac:grpSpMkLst>
            <pc:docMk/>
            <pc:sldMk cId="1650613911" sldId="303"/>
            <ac:grpSpMk id="1" creationId="{00000000-0000-0000-0000-000000000000}"/>
          </ac:grpSpMkLst>
        </pc:grpChg>
        <pc:graphicFrameChg chg="del mod modVis">
          <ac:chgData name="Rosa, Crystal" userId="fb74c9b1-33bd-4af2-8565-ea2bdc65fe6b" providerId="ADAL" clId="{EB94C765-70AA-4224-BA46-CBD13B84BE29}" dt="2023-07-13T19:57:21.649" v="47" actId="478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graphicFrameChg chg="add mod">
          <ac:chgData name="Rosa, Crystal" userId="fb74c9b1-33bd-4af2-8565-ea2bdc65fe6b" providerId="ADAL" clId="{EB94C765-70AA-4224-BA46-CBD13B84BE29}" dt="2023-07-13T19:57:24.804" v="48"/>
          <ac:graphicFrameMkLst>
            <pc:docMk/>
            <pc:sldMk cId="1650613911" sldId="303"/>
            <ac:graphicFrameMk id="7" creationId="{3EE2CCFD-4B41-77D9-B4F1-690854EA0D49}"/>
          </ac:graphicFrameMkLst>
        </pc:graphicFrameChg>
      </pc:sldChg>
      <pc:sldChg chg="modSp mod">
        <pc:chgData name="Rosa, Crystal" userId="fb74c9b1-33bd-4af2-8565-ea2bdc65fe6b" providerId="ADAL" clId="{EB94C765-70AA-4224-BA46-CBD13B84BE29}" dt="2023-07-13T19:58:12.138" v="54" actId="1076"/>
        <pc:sldMkLst>
          <pc:docMk/>
          <pc:sldMk cId="1054884385" sldId="304"/>
        </pc:sldMkLst>
        <pc:spChg chg="mod">
          <ac:chgData name="Rosa, Crystal" userId="fb74c9b1-33bd-4af2-8565-ea2bdc65fe6b" providerId="ADAL" clId="{EB94C765-70AA-4224-BA46-CBD13B84BE29}" dt="2023-07-13T19:58:03.370" v="53" actId="14100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7:40.371" v="49" actId="121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Rosa, Crystal" userId="fb74c9b1-33bd-4af2-8565-ea2bdc65fe6b" providerId="ADAL" clId="{EB94C765-70AA-4224-BA46-CBD13B84BE29}" dt="2023-07-13T19:58:12.138" v="54" actId="1076"/>
          <ac:spMkLst>
            <pc:docMk/>
            <pc:sldMk cId="1054884385" sldId="304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8:29.163" v="56" actId="1076"/>
        <pc:sldMkLst>
          <pc:docMk/>
          <pc:sldMk cId="156447753" sldId="305"/>
        </pc:sldMkLst>
        <pc:spChg chg="mod">
          <ac:chgData name="Rosa, Crystal" userId="fb74c9b1-33bd-4af2-8565-ea2bdc65fe6b" providerId="ADAL" clId="{EB94C765-70AA-4224-BA46-CBD13B84BE29}" dt="2023-07-13T19:58:22.029" v="55" actId="121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8:29.163" v="56" actId="1076"/>
          <ac:spMkLst>
            <pc:docMk/>
            <pc:sldMk cId="156447753" sldId="305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9:41.943" v="66" actId="121"/>
        <pc:sldMkLst>
          <pc:docMk/>
          <pc:sldMk cId="1936964873" sldId="307"/>
        </pc:sldMkLst>
        <pc:spChg chg="mod">
          <ac:chgData name="Rosa, Crystal" userId="fb74c9b1-33bd-4af2-8565-ea2bdc65fe6b" providerId="ADAL" clId="{EB94C765-70AA-4224-BA46-CBD13B84BE29}" dt="2023-07-13T19:59:30.495" v="64" actId="121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9:41.943" v="66" actId="121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19:59:39.085" v="65" actId="1076"/>
          <ac:spMkLst>
            <pc:docMk/>
            <pc:sldMk cId="1936964873" sldId="307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9:22.933" v="63" actId="1076"/>
        <pc:sldMkLst>
          <pc:docMk/>
          <pc:sldMk cId="2338493111" sldId="308"/>
        </pc:sldMkLst>
        <pc:spChg chg="mod">
          <ac:chgData name="Rosa, Crystal" userId="fb74c9b1-33bd-4af2-8565-ea2bdc65fe6b" providerId="ADAL" clId="{EB94C765-70AA-4224-BA46-CBD13B84BE29}" dt="2023-07-13T19:59:15.274" v="62" actId="121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9:08.359" v="61" actId="121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19:59:22.933" v="63" actId="1076"/>
          <ac:spMkLst>
            <pc:docMk/>
            <pc:sldMk cId="2338493111" sldId="308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5:01.385" v="34" actId="14100"/>
        <pc:sldMkLst>
          <pc:docMk/>
          <pc:sldMk cId="1963271544" sldId="1132"/>
        </pc:sldMkLst>
        <pc:spChg chg="mod">
          <ac:chgData name="Rosa, Crystal" userId="fb74c9b1-33bd-4af2-8565-ea2bdc65fe6b" providerId="ADAL" clId="{EB94C765-70AA-4224-BA46-CBD13B84BE29}" dt="2023-07-13T19:55:01.385" v="34" actId="14100"/>
          <ac:spMkLst>
            <pc:docMk/>
            <pc:sldMk cId="1963271544" sldId="1132"/>
            <ac:spMk id="2" creationId="{5B1EE775-0DD9-9523-89D7-58F9EA9BC236}"/>
          </ac:spMkLst>
        </pc:spChg>
        <pc:spChg chg="mod">
          <ac:chgData name="Rosa, Crystal" userId="fb74c9b1-33bd-4af2-8565-ea2bdc65fe6b" providerId="ADAL" clId="{EB94C765-70AA-4224-BA46-CBD13B84BE29}" dt="2023-07-13T19:49:47.412" v="12" actId="121"/>
          <ac:spMkLst>
            <pc:docMk/>
            <pc:sldMk cId="1963271544" sldId="1132"/>
            <ac:spMk id="4" creationId="{9DA8C127-7518-02FF-2670-E6AF73DACDE2}"/>
          </ac:spMkLst>
        </pc:spChg>
        <pc:spChg chg="mod">
          <ac:chgData name="Rosa, Crystal" userId="fb74c9b1-33bd-4af2-8565-ea2bdc65fe6b" providerId="ADAL" clId="{EB94C765-70AA-4224-BA46-CBD13B84BE29}" dt="2023-07-13T19:49:53.198" v="13" actId="1076"/>
          <ac:spMkLst>
            <pc:docMk/>
            <pc:sldMk cId="1963271544" sldId="1132"/>
            <ac:spMk id="7" creationId="{79D560B9-9B58-7233-67C2-65CD20C91461}"/>
          </ac:spMkLst>
        </pc:spChg>
        <pc:spChg chg="mod">
          <ac:chgData name="Rosa, Crystal" userId="fb74c9b1-33bd-4af2-8565-ea2bdc65fe6b" providerId="ADAL" clId="{EB94C765-70AA-4224-BA46-CBD13B84BE29}" dt="2023-07-13T19:51:29.473" v="24" actId="121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">
        <pc:chgData name="Rosa, Crystal" userId="fb74c9b1-33bd-4af2-8565-ea2bdc65fe6b" providerId="ADAL" clId="{EB94C765-70AA-4224-BA46-CBD13B84BE29}" dt="2023-07-13T20:02:57.387" v="101" actId="1076"/>
        <pc:sldMkLst>
          <pc:docMk/>
          <pc:sldMk cId="3474700355" sldId="1958"/>
        </pc:sldMkLst>
        <pc:spChg chg="mod">
          <ac:chgData name="Rosa, Crystal" userId="fb74c9b1-33bd-4af2-8565-ea2bdc65fe6b" providerId="ADAL" clId="{EB94C765-70AA-4224-BA46-CBD13B84BE29}" dt="2023-07-13T20:02:54.878" v="100" actId="14100"/>
          <ac:spMkLst>
            <pc:docMk/>
            <pc:sldMk cId="3474700355" sldId="1958"/>
            <ac:spMk id="2" creationId="{A2803681-83BA-14F1-D3BA-1D9F3C619B06}"/>
          </ac:spMkLst>
        </pc:spChg>
        <pc:spChg chg="mod">
          <ac:chgData name="Rosa, Crystal" userId="fb74c9b1-33bd-4af2-8565-ea2bdc65fe6b" providerId="ADAL" clId="{EB94C765-70AA-4224-BA46-CBD13B84BE29}" dt="2023-07-13T20:02:57.387" v="101" actId="1076"/>
          <ac:spMkLst>
            <pc:docMk/>
            <pc:sldMk cId="3474700355" sldId="1958"/>
            <ac:spMk id="4" creationId="{E3A07C0A-9186-3109-07B2-97E65FF10052}"/>
          </ac:spMkLst>
        </pc:spChg>
        <pc:spChg chg="mod">
          <ac:chgData name="Rosa, Crystal" userId="fb74c9b1-33bd-4af2-8565-ea2bdc65fe6b" providerId="ADAL" clId="{EB94C765-70AA-4224-BA46-CBD13B84BE29}" dt="2023-07-13T19:51:00.181" v="20" actId="121"/>
          <ac:spMkLst>
            <pc:docMk/>
            <pc:sldMk cId="3474700355" sldId="1958"/>
            <ac:spMk id="13" creationId="{00000000-0000-0000-0000-000000000000}"/>
          </ac:spMkLst>
        </pc:spChg>
        <pc:spChg chg="mod">
          <ac:chgData name="Rosa, Crystal" userId="fb74c9b1-33bd-4af2-8565-ea2bdc65fe6b" providerId="ADAL" clId="{EB94C765-70AA-4224-BA46-CBD13B84BE29}" dt="2023-07-13T19:50:53.794" v="19" actId="121"/>
          <ac:spMkLst>
            <pc:docMk/>
            <pc:sldMk cId="3474700355" sldId="1958"/>
            <ac:spMk id="14" creationId="{9C52EBCC-05CF-19D1-CA36-2D2D0F98314B}"/>
          </ac:spMkLst>
        </pc:spChg>
        <pc:spChg chg="mod">
          <ac:chgData name="Rosa, Crystal" userId="fb74c9b1-33bd-4af2-8565-ea2bdc65fe6b" providerId="ADAL" clId="{EB94C765-70AA-4224-BA46-CBD13B84BE29}" dt="2023-07-13T19:50:36.790" v="16" actId="121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Rosa, Crystal" userId="fb74c9b1-33bd-4af2-8565-ea2bdc65fe6b" providerId="ADAL" clId="{EB94C765-70AA-4224-BA46-CBD13B84BE29}" dt="2023-07-13T19:50:47.948" v="18" actId="121"/>
          <ac:graphicFrameMkLst>
            <pc:docMk/>
            <pc:sldMk cId="3474700355" sldId="1958"/>
            <ac:graphicFrameMk id="23" creationId="{6A970923-3EE9-5110-7D67-6F29AF537C54}"/>
          </ac:graphicFrameMkLst>
        </pc:graphicFrameChg>
      </pc:sldChg>
      <pc:sldChg chg="modSp mod">
        <pc:chgData name="Rosa, Crystal" userId="fb74c9b1-33bd-4af2-8565-ea2bdc65fe6b" providerId="ADAL" clId="{EB94C765-70AA-4224-BA46-CBD13B84BE29}" dt="2023-07-13T20:06:10.031" v="134" actId="14100"/>
        <pc:sldMkLst>
          <pc:docMk/>
          <pc:sldMk cId="3992210531" sldId="1962"/>
        </pc:sldMkLst>
        <pc:spChg chg="mod">
          <ac:chgData name="Rosa, Crystal" userId="fb74c9b1-33bd-4af2-8565-ea2bdc65fe6b" providerId="ADAL" clId="{EB94C765-70AA-4224-BA46-CBD13B84BE29}" dt="2023-07-13T20:05:59.657" v="131" actId="121"/>
          <ac:spMkLst>
            <pc:docMk/>
            <pc:sldMk cId="3992210531" sldId="1962"/>
            <ac:spMk id="3" creationId="{2088BC24-1734-6419-1D44-083DDAA0362A}"/>
          </ac:spMkLst>
        </pc:spChg>
        <pc:spChg chg="mod">
          <ac:chgData name="Rosa, Crystal" userId="fb74c9b1-33bd-4af2-8565-ea2bdc65fe6b" providerId="ADAL" clId="{EB94C765-70AA-4224-BA46-CBD13B84BE29}" dt="2023-07-13T20:06:10.031" v="134" actId="14100"/>
          <ac:spMkLst>
            <pc:docMk/>
            <pc:sldMk cId="3992210531" sldId="1962"/>
            <ac:spMk id="5" creationId="{8F196868-1C52-8D91-AF0E-C71A04E48012}"/>
          </ac:spMkLst>
        </pc:spChg>
        <pc:spChg chg="mod">
          <ac:chgData name="Rosa, Crystal" userId="fb74c9b1-33bd-4af2-8565-ea2bdc65fe6b" providerId="ADAL" clId="{EB94C765-70AA-4224-BA46-CBD13B84BE29}" dt="2023-07-13T20:06:07.887" v="133" actId="1076"/>
          <ac:spMkLst>
            <pc:docMk/>
            <pc:sldMk cId="3992210531" sldId="1962"/>
            <ac:spMk id="6" creationId="{E351053B-92D9-7338-1543-BD80B26AF33E}"/>
          </ac:spMkLst>
        </pc:spChg>
      </pc:sldChg>
      <pc:sldChg chg="modSp mod">
        <pc:chgData name="Rosa, Crystal" userId="fb74c9b1-33bd-4af2-8565-ea2bdc65fe6b" providerId="ADAL" clId="{EB94C765-70AA-4224-BA46-CBD13B84BE29}" dt="2023-07-13T20:06:19.058" v="136" actId="1076"/>
        <pc:sldMkLst>
          <pc:docMk/>
          <pc:sldMk cId="4255861837" sldId="1963"/>
        </pc:sldMkLst>
        <pc:spChg chg="mod">
          <ac:chgData name="Rosa, Crystal" userId="fb74c9b1-33bd-4af2-8565-ea2bdc65fe6b" providerId="ADAL" clId="{EB94C765-70AA-4224-BA46-CBD13B84BE29}" dt="2023-07-13T20:06:15.772" v="135" actId="121"/>
          <ac:spMkLst>
            <pc:docMk/>
            <pc:sldMk cId="4255861837" sldId="1963"/>
            <ac:spMk id="7" creationId="{55C3F6FE-508A-07E3-DEBA-1E6F5932979C}"/>
          </ac:spMkLst>
        </pc:spChg>
        <pc:spChg chg="mod">
          <ac:chgData name="Rosa, Crystal" userId="fb74c9b1-33bd-4af2-8565-ea2bdc65fe6b" providerId="ADAL" clId="{EB94C765-70AA-4224-BA46-CBD13B84BE29}" dt="2023-07-13T20:06:19.058" v="136" actId="1076"/>
          <ac:spMkLst>
            <pc:docMk/>
            <pc:sldMk cId="4255861837" sldId="1963"/>
            <ac:spMk id="8" creationId="{99FCCC70-6E17-33E9-D66D-B6B3B0A563C9}"/>
          </ac:spMkLst>
        </pc:spChg>
      </pc:sldChg>
      <pc:sldChg chg="modSp mod">
        <pc:chgData name="Rosa, Crystal" userId="fb74c9b1-33bd-4af2-8565-ea2bdc65fe6b" providerId="ADAL" clId="{EB94C765-70AA-4224-BA46-CBD13B84BE29}" dt="2023-07-13T19:55:10.603" v="35" actId="14100"/>
        <pc:sldMkLst>
          <pc:docMk/>
          <pc:sldMk cId="1192723466" sldId="1966"/>
        </pc:sldMkLst>
        <pc:spChg chg="mod">
          <ac:chgData name="Rosa, Crystal" userId="fb74c9b1-33bd-4af2-8565-ea2bdc65fe6b" providerId="ADAL" clId="{EB94C765-70AA-4224-BA46-CBD13B84BE29}" dt="2023-07-13T19:53:44.099" v="29" actId="121"/>
          <ac:spMkLst>
            <pc:docMk/>
            <pc:sldMk cId="1192723466" sldId="1966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5:10.603" v="35" actId="14100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19:54:03.744" v="31" actId="1076"/>
          <ac:spMkLst>
            <pc:docMk/>
            <pc:sldMk cId="1192723466" sldId="1966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0:22.047" v="73" actId="1076"/>
        <pc:sldMkLst>
          <pc:docMk/>
          <pc:sldMk cId="3267574285" sldId="1967"/>
        </pc:sldMkLst>
        <pc:spChg chg="mod">
          <ac:chgData name="Rosa, Crystal" userId="fb74c9b1-33bd-4af2-8565-ea2bdc65fe6b" providerId="ADAL" clId="{EB94C765-70AA-4224-BA46-CBD13B84BE29}" dt="2023-07-13T20:00:11.420" v="71" actId="121"/>
          <ac:spMkLst>
            <pc:docMk/>
            <pc:sldMk cId="3267574285" sldId="1967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0:07.384" v="70" actId="121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0:22.047" v="73" actId="1076"/>
          <ac:spMkLst>
            <pc:docMk/>
            <pc:sldMk cId="3267574285" sldId="1967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2:02.667" v="89" actId="1076"/>
        <pc:sldMkLst>
          <pc:docMk/>
          <pc:sldMk cId="2854237404" sldId="1968"/>
        </pc:sldMkLst>
        <pc:spChg chg="mod">
          <ac:chgData name="Rosa, Crystal" userId="fb74c9b1-33bd-4af2-8565-ea2bdc65fe6b" providerId="ADAL" clId="{EB94C765-70AA-4224-BA46-CBD13B84BE29}" dt="2023-07-13T20:01:58.576" v="88" actId="121"/>
          <ac:spMkLst>
            <pc:docMk/>
            <pc:sldMk cId="2854237404" sldId="1968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1:54.284" v="87" actId="121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2:02.667" v="89" actId="1076"/>
          <ac:spMkLst>
            <pc:docMk/>
            <pc:sldMk cId="2854237404" sldId="1968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5:37.253" v="38" actId="1076"/>
        <pc:sldMkLst>
          <pc:docMk/>
          <pc:sldMk cId="1389041451" sldId="1969"/>
        </pc:sldMkLst>
        <pc:spChg chg="mod">
          <ac:chgData name="Rosa, Crystal" userId="fb74c9b1-33bd-4af2-8565-ea2bdc65fe6b" providerId="ADAL" clId="{EB94C765-70AA-4224-BA46-CBD13B84BE29}" dt="2023-07-13T19:55:21.625" v="37" actId="121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5:37.253" v="38" actId="1076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Rosa, Crystal" userId="fb74c9b1-33bd-4af2-8565-ea2bdc65fe6b" providerId="ADAL" clId="{EB94C765-70AA-4224-BA46-CBD13B84BE29}" dt="2023-07-13T19:55:18.630" v="36" actId="121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osa, Crystal" userId="fb74c9b1-33bd-4af2-8565-ea2bdc65fe6b" providerId="ADAL" clId="{EB94C765-70AA-4224-BA46-CBD13B84BE29}" dt="2023-07-13T20:04:06.784" v="109" actId="14100"/>
        <pc:sldMkLst>
          <pc:docMk/>
          <pc:sldMk cId="243584219" sldId="1970"/>
        </pc:sldMkLst>
        <pc:spChg chg="mod">
          <ac:chgData name="Rosa, Crystal" userId="fb74c9b1-33bd-4af2-8565-ea2bdc65fe6b" providerId="ADAL" clId="{EB94C765-70AA-4224-BA46-CBD13B84BE29}" dt="2023-07-13T20:04:06.784" v="109" actId="14100"/>
          <ac:spMkLst>
            <pc:docMk/>
            <pc:sldMk cId="243584219" sldId="1970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3:54.418" v="106" actId="121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4:04.250" v="108" actId="1076"/>
          <ac:spMkLst>
            <pc:docMk/>
            <pc:sldMk cId="243584219" sldId="1970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5:25.433" v="124" actId="14100"/>
        <pc:sldMkLst>
          <pc:docMk/>
          <pc:sldMk cId="472625034" sldId="1971"/>
        </pc:sldMkLst>
        <pc:spChg chg="mod">
          <ac:chgData name="Rosa, Crystal" userId="fb74c9b1-33bd-4af2-8565-ea2bdc65fe6b" providerId="ADAL" clId="{EB94C765-70AA-4224-BA46-CBD13B84BE29}" dt="2023-07-13T20:05:25.433" v="124" actId="14100"/>
          <ac:spMkLst>
            <pc:docMk/>
            <pc:sldMk cId="472625034" sldId="1971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5:15.044" v="121" actId="121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5:23.324" v="123" actId="1076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5:53.963" v="130" actId="121"/>
        <pc:sldMkLst>
          <pc:docMk/>
          <pc:sldMk cId="175234593" sldId="1972"/>
        </pc:sldMkLst>
        <pc:spChg chg="mod">
          <ac:chgData name="Rosa, Crystal" userId="fb74c9b1-33bd-4af2-8565-ea2bdc65fe6b" providerId="ADAL" clId="{EB94C765-70AA-4224-BA46-CBD13B84BE29}" dt="2023-07-13T20:05:40.223" v="127" actId="121"/>
          <ac:spMkLst>
            <pc:docMk/>
            <pc:sldMk cId="175234593" sldId="1972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5:48.932" v="129" actId="121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Rosa, Crystal" userId="fb74c9b1-33bd-4af2-8565-ea2bdc65fe6b" providerId="ADAL" clId="{EB94C765-70AA-4224-BA46-CBD13B84BE29}" dt="2023-07-13T20:05:45.869" v="128" actId="1076"/>
          <ac:spMkLst>
            <pc:docMk/>
            <pc:sldMk cId="175234593" sldId="1972"/>
            <ac:spMk id="6" creationId="{0038D609-7001-4947-92BB-A379E0414168}"/>
          </ac:spMkLst>
        </pc:spChg>
        <pc:spChg chg="mod">
          <ac:chgData name="Rosa, Crystal" userId="fb74c9b1-33bd-4af2-8565-ea2bdc65fe6b" providerId="ADAL" clId="{EB94C765-70AA-4224-BA46-CBD13B84BE29}" dt="2023-07-13T20:05:53.963" v="130" actId="121"/>
          <ac:spMkLst>
            <pc:docMk/>
            <pc:sldMk cId="175234593" sldId="1972"/>
            <ac:spMk id="7" creationId="{ACB251AD-130B-1E9A-527E-F944D052EF3D}"/>
          </ac:spMkLst>
        </pc:spChg>
        <pc:graphicFrameChg chg="mod">
          <ac:chgData name="Rosa, Crystal" userId="fb74c9b1-33bd-4af2-8565-ea2bdc65fe6b" providerId="ADAL" clId="{EB94C765-70AA-4224-BA46-CBD13B84BE29}" dt="2023-07-13T20:05:37.572" v="126" actId="121"/>
          <ac:graphicFrameMkLst>
            <pc:docMk/>
            <pc:sldMk cId="175234593" sldId="1972"/>
            <ac:graphicFrameMk id="3" creationId="{B21E3827-1DB0-0D3E-8DCC-20E920E4B217}"/>
          </ac:graphicFrameMkLst>
        </pc:graphicFrameChg>
      </pc:sldChg>
      <pc:sldChg chg="modSp mod">
        <pc:chgData name="Rosa, Crystal" userId="fb74c9b1-33bd-4af2-8565-ea2bdc65fe6b" providerId="ADAL" clId="{EB94C765-70AA-4224-BA46-CBD13B84BE29}" dt="2023-07-13T19:58:55.279" v="60" actId="1076"/>
        <pc:sldMkLst>
          <pc:docMk/>
          <pc:sldMk cId="2953531974" sldId="1973"/>
        </pc:sldMkLst>
        <pc:spChg chg="mod">
          <ac:chgData name="Rosa, Crystal" userId="fb74c9b1-33bd-4af2-8565-ea2bdc65fe6b" providerId="ADAL" clId="{EB94C765-70AA-4224-BA46-CBD13B84BE29}" dt="2023-07-13T19:58:47.101" v="59" actId="121"/>
          <ac:spMkLst>
            <pc:docMk/>
            <pc:sldMk cId="2953531974" sldId="1973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8:42.748" v="58" actId="121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Rosa, Crystal" userId="fb74c9b1-33bd-4af2-8565-ea2bdc65fe6b" providerId="ADAL" clId="{EB94C765-70AA-4224-BA46-CBD13B84BE29}" dt="2023-07-13T19:58:55.279" v="60" actId="1076"/>
          <ac:spMkLst>
            <pc:docMk/>
            <pc:sldMk cId="2953531974" sldId="1973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19:59:59.997" v="69" actId="121"/>
        <pc:sldMkLst>
          <pc:docMk/>
          <pc:sldMk cId="1745514758" sldId="1974"/>
        </pc:sldMkLst>
        <pc:spChg chg="mod">
          <ac:chgData name="Rosa, Crystal" userId="fb74c9b1-33bd-4af2-8565-ea2bdc65fe6b" providerId="ADAL" clId="{EB94C765-70AA-4224-BA46-CBD13B84BE29}" dt="2023-07-13T19:59:51.813" v="67" actId="121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19:59:59.997" v="69" actId="121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19:59:56.426" v="68" actId="1076"/>
          <ac:spMkLst>
            <pc:docMk/>
            <pc:sldMk cId="1745514758" sldId="1974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2:45.205" v="99" actId="1076"/>
        <pc:sldMkLst>
          <pc:docMk/>
          <pc:sldMk cId="2184168918" sldId="1975"/>
        </pc:sldMkLst>
        <pc:spChg chg="mod">
          <ac:chgData name="Rosa, Crystal" userId="fb74c9b1-33bd-4af2-8565-ea2bdc65fe6b" providerId="ADAL" clId="{EB94C765-70AA-4224-BA46-CBD13B84BE29}" dt="2023-07-13T20:02:42.290" v="98" actId="14100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2:29.693" v="95" actId="121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2:45.205" v="9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EB94C765-70AA-4224-BA46-CBD13B84BE29}" dt="2023-07-13T20:05:02.541" v="120" actId="1076"/>
        <pc:sldMkLst>
          <pc:docMk/>
          <pc:sldMk cId="1562900042" sldId="1976"/>
        </pc:sldMkLst>
        <pc:spChg chg="mod">
          <ac:chgData name="Rosa, Crystal" userId="fb74c9b1-33bd-4af2-8565-ea2bdc65fe6b" providerId="ADAL" clId="{EB94C765-70AA-4224-BA46-CBD13B84BE29}" dt="2023-07-13T20:04:57.837" v="119" actId="14100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osa, Crystal" userId="fb74c9b1-33bd-4af2-8565-ea2bdc65fe6b" providerId="ADAL" clId="{EB94C765-70AA-4224-BA46-CBD13B84BE29}" dt="2023-07-13T20:04:53.468" v="118" actId="121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Rosa, Crystal" userId="fb74c9b1-33bd-4af2-8565-ea2bdc65fe6b" providerId="ADAL" clId="{EB94C765-70AA-4224-BA46-CBD13B84BE29}" dt="2023-07-13T20:05:02.541" v="120" actId="1076"/>
          <ac:spMkLst>
            <pc:docMk/>
            <pc:sldMk cId="1562900042" sldId="1976"/>
            <ac:spMk id="6" creationId="{0038D609-7001-4947-92BB-A379E0414168}"/>
          </ac:spMkLst>
        </pc:spChg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675-47A9-86F3-A90650DA667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675-47A9-86F3-A90650DA667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675-47A9-86F3-A90650DA6672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675-47A9-86F3-A90650DA6672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675-47A9-86F3-A90650DA6672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675-47A9-86F3-A90650DA66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675-47A9-86F3-A90650DA6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2EF2283D-3B6E-4431-93E5-7A472FA902A9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algn="r" rtl="1">
            <a:lnSpc>
              <a:spcPct val="100000"/>
            </a:lnSpc>
          </a:pPr>
          <a:r>
            <a:rPr lang="ar" sz="28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ستنضم إلى الاجتماع مع إيقاف تشغيل الفيديو والميكروفون</a:t>
          </a:r>
        </a:p>
      </dgm:t>
    </dgm:pt>
    <dgm:pt modelId="{740381F6-8F65-45E6-834C-2BFFFDA34B52}" type="sibTrans" cxnId="{2EF2283D-3B6E-4431-93E5-7A472FA902A9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33425FCC-4061-4FED-9248-59879B4918DC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algn="r" rtl="1">
            <a:lnSpc>
              <a:spcPct val="100000"/>
            </a:lnSpc>
          </a:pPr>
          <a:r>
            <a:rPr lang="ar" sz="28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يمكنك كتابة أسئلة أو تعليقات مكتوبة في لوحة Zoom للأسئلة والأجوبة</a:t>
          </a:r>
        </a:p>
      </dgm:t>
    </dgm:pt>
    <dgm:pt modelId="{C6BC1EE2-6297-4F68-9F23-E980040404AF}" type="sibTrans" cxnId="{33425FCC-4061-4FED-9248-59879B4918DC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05E65B1B-9B8E-4E37-8326-4DDFF3E40846}" type="presOf" srcId="{740381F6-8F65-45E6-834C-2BFFFDA34B52}" destId="{223A61D7-27B3-41FD-916E-BE2BE026F678}" srcOrd="0" destOrd="0" presId="urn:microsoft.com/office/officeart/2018/2/layout/IconCircleList"/>
    <dgm:cxn modelId="{3FF72027-BD0C-4B7F-B4DC-9DE12E34112D}" type="presOf" srcId="{2AB3197D-3839-4BA2-A797-8FE2069BC1A3}" destId="{56149493-6F81-4646-A1F4-6363391C9DB6}" srcOrd="0" destOrd="0" presId="urn:microsoft.com/office/officeart/2018/2/layout/IconCircleList"/>
    <dgm:cxn modelId="{2EF2283D-3B6E-4431-93E5-7A472FA902A9}" srcId="{4F4A099B-3F3B-4D64-B644-8A93D3D2F41B}" destId="{60AA5E28-2DC2-4B5D-8F41-F6333A758590}" srcOrd="0" destOrd="0" parTransId="{95D52A93-C507-49F7-B5AD-A018D3675E6E}" sibTransId="{740381F6-8F65-45E6-834C-2BFFFDA34B52}"/>
    <dgm:cxn modelId="{6D71EC7D-C221-4091-BF0F-5B1B13F55145}" type="presOf" srcId="{60AA5E28-2DC2-4B5D-8F41-F6333A758590}" destId="{13F8F3C7-A9EB-4CC0-B17F-94578B3204DE}" srcOrd="0" destOrd="0" presId="urn:microsoft.com/office/officeart/2018/2/layout/IconCircleList"/>
    <dgm:cxn modelId="{6DB22AB4-4654-4C34-AC39-8F5DF771BC7C}" type="presOf" srcId="{4F4A099B-3F3B-4D64-B644-8A93D3D2F41B}" destId="{096F9BD3-7F33-45CB-B446-E78EE4310BCE}" srcOrd="0" destOrd="0" presId="urn:microsoft.com/office/officeart/2018/2/layout/IconCircleList"/>
    <dgm:cxn modelId="{33425FCC-4061-4FED-9248-59879B4918DC}" srcId="{4F4A099B-3F3B-4D64-B644-8A93D3D2F41B}" destId="{2AB3197D-3839-4BA2-A797-8FE2069BC1A3}" srcOrd="1" destOrd="0" parTransId="{7F0419C9-5227-4483-9FFF-F50F7AABB817}" sibTransId="{C6BC1EE2-6297-4F68-9F23-E980040404AF}"/>
    <dgm:cxn modelId="{0DC8DCB7-496F-4D76-902F-D7A35DDFCF94}" type="presParOf" srcId="{096F9BD3-7F33-45CB-B446-E78EE4310BCE}" destId="{F54E6E22-3A5E-4463-AFB2-61ED98D201A7}" srcOrd="0" destOrd="0" presId="urn:microsoft.com/office/officeart/2018/2/layout/IconCircleList"/>
    <dgm:cxn modelId="{5B465A22-0107-4FD5-9101-8D2DF84EDDA1}" type="presParOf" srcId="{F54E6E22-3A5E-4463-AFB2-61ED98D201A7}" destId="{E1AB4095-DF5E-4992-98A2-5942995E7073}" srcOrd="0" destOrd="0" presId="urn:microsoft.com/office/officeart/2018/2/layout/IconCircleList"/>
    <dgm:cxn modelId="{2906CC08-2564-40AA-B5FF-91FEFD985929}" type="presParOf" srcId="{E1AB4095-DF5E-4992-98A2-5942995E7073}" destId="{DF4A8D10-EC50-4AB5-AA36-8641C228503D}" srcOrd="0" destOrd="0" presId="urn:microsoft.com/office/officeart/2018/2/layout/IconCircleList"/>
    <dgm:cxn modelId="{C4028FCE-1BA8-4C9C-8CF7-DDBEF66F00B9}" type="presParOf" srcId="{E1AB4095-DF5E-4992-98A2-5942995E7073}" destId="{79A50BC8-DD6D-455A-84E9-CAC77FC1A1C5}" srcOrd="1" destOrd="0" presId="urn:microsoft.com/office/officeart/2018/2/layout/IconCircleList"/>
    <dgm:cxn modelId="{073D05B3-ECC7-4DE1-996D-8AA47F39E487}" type="presParOf" srcId="{E1AB4095-DF5E-4992-98A2-5942995E7073}" destId="{4148BBF7-0768-4FEC-99FD-1DB593AB1125}" srcOrd="2" destOrd="0" presId="urn:microsoft.com/office/officeart/2018/2/layout/IconCircleList"/>
    <dgm:cxn modelId="{0E5FDFD4-1ABD-42FC-B2FC-D3401DF73BE2}" type="presParOf" srcId="{E1AB4095-DF5E-4992-98A2-5942995E7073}" destId="{13F8F3C7-A9EB-4CC0-B17F-94578B3204DE}" srcOrd="3" destOrd="0" presId="urn:microsoft.com/office/officeart/2018/2/layout/IconCircleList"/>
    <dgm:cxn modelId="{F61A095D-EF0F-4EAB-8C6A-3474D92DBC65}" type="presParOf" srcId="{F54E6E22-3A5E-4463-AFB2-61ED98D201A7}" destId="{223A61D7-27B3-41FD-916E-BE2BE026F678}" srcOrd="1" destOrd="0" presId="urn:microsoft.com/office/officeart/2018/2/layout/IconCircleList"/>
    <dgm:cxn modelId="{90854A8E-7B3E-4AA8-A642-C7D4DD813448}" type="presParOf" srcId="{F54E6E22-3A5E-4463-AFB2-61ED98D201A7}" destId="{934EFC36-7224-41C5-AD4F-0CAB4BC10557}" srcOrd="2" destOrd="0" presId="urn:microsoft.com/office/officeart/2018/2/layout/IconCircleList"/>
    <dgm:cxn modelId="{17DACC21-3964-4F2E-82BE-ADC1EB3667FE}" type="presParOf" srcId="{934EFC36-7224-41C5-AD4F-0CAB4BC10557}" destId="{65AB2DA9-120A-4C91-8EAD-3AA77E040AB4}" srcOrd="0" destOrd="0" presId="urn:microsoft.com/office/officeart/2018/2/layout/IconCircleList"/>
    <dgm:cxn modelId="{C918E9F5-8D66-42DC-B783-CEB9B6CB089C}" type="presParOf" srcId="{934EFC36-7224-41C5-AD4F-0CAB4BC10557}" destId="{6C4C39E3-A30E-4C95-A570-879E2759E563}" srcOrd="1" destOrd="0" presId="urn:microsoft.com/office/officeart/2018/2/layout/IconCircleList"/>
    <dgm:cxn modelId="{D46BCF64-05A7-445B-ACC0-87036780560D}" type="presParOf" srcId="{934EFC36-7224-41C5-AD4F-0CAB4BC10557}" destId="{F494E221-DD2D-446B-85C0-D033EAFCBFDC}" srcOrd="2" destOrd="0" presId="urn:microsoft.com/office/officeart/2018/2/layout/IconCircleList"/>
    <dgm:cxn modelId="{0FDD7482-EC29-47A5-9F7B-2965C9007034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6C3CFFC2-7CAE-467B-9731-CA5CFFD02C28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algn="r" rtl="1">
            <a:lnSpc>
              <a:spcPct val="100000"/>
            </a:lnSpc>
          </a:pPr>
          <a:r>
            <a:rPr lang="ar" sz="28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ستنضم إلى الاجتماع مع إيقاف تشغيل الفيديو والميكروفون</a:t>
          </a:r>
        </a:p>
      </dgm:t>
    </dgm:pt>
    <dgm:pt modelId="{740381F6-8F65-45E6-834C-2BFFFDA34B52}" type="sibTrans" cxnId="{6C3CFFC2-7CAE-467B-9731-CA5CFFD02C28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0AF08B1C-4376-4850-B2AF-2FB29A0FA92E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algn="r" rtl="1">
            <a:lnSpc>
              <a:spcPct val="100000"/>
            </a:lnSpc>
          </a:pPr>
          <a:r>
            <a:rPr lang="ar" sz="28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يمكنك كتابة أسئلة أو تعليقات مكتوبة في لوحة Zoom للأسئلة والأجوبة</a:t>
          </a:r>
        </a:p>
      </dgm:t>
    </dgm:pt>
    <dgm:pt modelId="{C6BC1EE2-6297-4F68-9F23-E980040404AF}" type="sibTrans" cxnId="{0AF08B1C-4376-4850-B2AF-2FB29A0FA92E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0AF08B1C-4376-4850-B2AF-2FB29A0FA92E}" srcId="{4F4A099B-3F3B-4D64-B644-8A93D3D2F41B}" destId="{2AB3197D-3839-4BA2-A797-8FE2069BC1A3}" srcOrd="1" destOrd="0" parTransId="{7F0419C9-5227-4483-9FFF-F50F7AABB817}" sibTransId="{C6BC1EE2-6297-4F68-9F23-E980040404AF}"/>
    <dgm:cxn modelId="{B9C9B841-4B4B-4A1A-B492-7654FAEB7233}" type="presOf" srcId="{2AB3197D-3839-4BA2-A797-8FE2069BC1A3}" destId="{56149493-6F81-4646-A1F4-6363391C9DB6}" srcOrd="0" destOrd="0" presId="urn:microsoft.com/office/officeart/2018/2/layout/IconCircleList"/>
    <dgm:cxn modelId="{4DB8074C-1096-44AB-BA9D-6A1D93922D90}" type="presOf" srcId="{740381F6-8F65-45E6-834C-2BFFFDA34B52}" destId="{223A61D7-27B3-41FD-916E-BE2BE026F678}" srcOrd="0" destOrd="0" presId="urn:microsoft.com/office/officeart/2018/2/layout/IconCircleList"/>
    <dgm:cxn modelId="{2CA3A68C-C81C-47AA-AD13-339487CF1479}" type="presOf" srcId="{4F4A099B-3F3B-4D64-B644-8A93D3D2F41B}" destId="{096F9BD3-7F33-45CB-B446-E78EE4310BCE}" srcOrd="0" destOrd="0" presId="urn:microsoft.com/office/officeart/2018/2/layout/IconCircleList"/>
    <dgm:cxn modelId="{023992A4-2E37-471B-8B06-A1FA7850F200}" type="presOf" srcId="{60AA5E28-2DC2-4B5D-8F41-F6333A758590}" destId="{13F8F3C7-A9EB-4CC0-B17F-94578B3204DE}" srcOrd="0" destOrd="0" presId="urn:microsoft.com/office/officeart/2018/2/layout/IconCircleList"/>
    <dgm:cxn modelId="{6C3CFFC2-7CAE-467B-9731-CA5CFFD02C28}" srcId="{4F4A099B-3F3B-4D64-B644-8A93D3D2F41B}" destId="{60AA5E28-2DC2-4B5D-8F41-F6333A758590}" srcOrd="0" destOrd="0" parTransId="{95D52A93-C507-49F7-B5AD-A018D3675E6E}" sibTransId="{740381F6-8F65-45E6-834C-2BFFFDA34B52}"/>
    <dgm:cxn modelId="{58390462-2C76-4B83-A5CD-2A586249CD32}" type="presParOf" srcId="{096F9BD3-7F33-45CB-B446-E78EE4310BCE}" destId="{F54E6E22-3A5E-4463-AFB2-61ED98D201A7}" srcOrd="0" destOrd="0" presId="urn:microsoft.com/office/officeart/2018/2/layout/IconCircleList"/>
    <dgm:cxn modelId="{794641E0-D8C1-477E-A319-BA4E93D98CDE}" type="presParOf" srcId="{F54E6E22-3A5E-4463-AFB2-61ED98D201A7}" destId="{E1AB4095-DF5E-4992-98A2-5942995E7073}" srcOrd="0" destOrd="0" presId="urn:microsoft.com/office/officeart/2018/2/layout/IconCircleList"/>
    <dgm:cxn modelId="{BC30B4D9-2126-4EA2-AB3A-E34A2CC53717}" type="presParOf" srcId="{E1AB4095-DF5E-4992-98A2-5942995E7073}" destId="{DF4A8D10-EC50-4AB5-AA36-8641C228503D}" srcOrd="0" destOrd="0" presId="urn:microsoft.com/office/officeart/2018/2/layout/IconCircleList"/>
    <dgm:cxn modelId="{065D34D3-17C1-40D7-BC08-97481163A1F3}" type="presParOf" srcId="{E1AB4095-DF5E-4992-98A2-5942995E7073}" destId="{79A50BC8-DD6D-455A-84E9-CAC77FC1A1C5}" srcOrd="1" destOrd="0" presId="urn:microsoft.com/office/officeart/2018/2/layout/IconCircleList"/>
    <dgm:cxn modelId="{5E9934D8-C435-4A17-99E4-4E0EFEF7BDD0}" type="presParOf" srcId="{E1AB4095-DF5E-4992-98A2-5942995E7073}" destId="{4148BBF7-0768-4FEC-99FD-1DB593AB1125}" srcOrd="2" destOrd="0" presId="urn:microsoft.com/office/officeart/2018/2/layout/IconCircleList"/>
    <dgm:cxn modelId="{28E6EC99-DEF7-4CC8-A752-E87B4EB8974F}" type="presParOf" srcId="{E1AB4095-DF5E-4992-98A2-5942995E7073}" destId="{13F8F3C7-A9EB-4CC0-B17F-94578B3204DE}" srcOrd="3" destOrd="0" presId="urn:microsoft.com/office/officeart/2018/2/layout/IconCircleList"/>
    <dgm:cxn modelId="{E17DE57A-CF32-4861-873B-48F308AB550B}" type="presParOf" srcId="{F54E6E22-3A5E-4463-AFB2-61ED98D201A7}" destId="{223A61D7-27B3-41FD-916E-BE2BE026F678}" srcOrd="1" destOrd="0" presId="urn:microsoft.com/office/officeart/2018/2/layout/IconCircleList"/>
    <dgm:cxn modelId="{84860E53-25B8-4A98-9646-018BDD5BA819}" type="presParOf" srcId="{F54E6E22-3A5E-4463-AFB2-61ED98D201A7}" destId="{934EFC36-7224-41C5-AD4F-0CAB4BC10557}" srcOrd="2" destOrd="0" presId="urn:microsoft.com/office/officeart/2018/2/layout/IconCircleList"/>
    <dgm:cxn modelId="{9A6E97D3-EDC9-4FB9-98E9-AB0C86580D51}" type="presParOf" srcId="{934EFC36-7224-41C5-AD4F-0CAB4BC10557}" destId="{65AB2DA9-120A-4C91-8EAD-3AA77E040AB4}" srcOrd="0" destOrd="0" presId="urn:microsoft.com/office/officeart/2018/2/layout/IconCircleList"/>
    <dgm:cxn modelId="{09E10000-2BEE-4E86-B3F4-F15E991C6694}" type="presParOf" srcId="{934EFC36-7224-41C5-AD4F-0CAB4BC10557}" destId="{6C4C39E3-A30E-4C95-A570-879E2759E563}" srcOrd="1" destOrd="0" presId="urn:microsoft.com/office/officeart/2018/2/layout/IconCircleList"/>
    <dgm:cxn modelId="{0257A028-65D1-4B98-8CF4-2CC0F3C47137}" type="presParOf" srcId="{934EFC36-7224-41C5-AD4F-0CAB4BC10557}" destId="{F494E221-DD2D-446B-85C0-D033EAFCBFDC}" srcOrd="2" destOrd="0" presId="urn:microsoft.com/office/officeart/2018/2/layout/IconCircleList"/>
    <dgm:cxn modelId="{E756F137-989E-4D5A-98EC-36D0A58B7DC4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r" defTabSz="12446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" sz="28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ستنضم إلى الاجتماع مع إيقاف تشغيل الفيديو والميكروفون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r" defTabSz="12446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" sz="28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يمكنك كتابة أسئلة أو تعليقات مكتوبة في لوحة Zoom للأسئلة والأجوبة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r" defTabSz="12446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" sz="28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ستنضم إلى الاجتماع مع إيقاف تشغيل الفيديو والميكروفون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r" defTabSz="1244600" rtl="1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" sz="28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يمكنك كتابة أسئلة أو تعليقات مكتوبة في لوحة Zoom للأسئلة والأجوبة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2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قسم تنمية المجتمع بمدينة Cambridg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36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برنامج عرض المباني الخالية من الوقود الأحفوري - نظرة عام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تضمن خطة عمل Net Zero إجراءات لمعالجة الانبعاثات من المباني الحالية والجديد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01646" y="60489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4"/>
            <a:ext cx="5368391" cy="3662541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algn="r" rtl="1"/>
            <a:r>
              <a:rPr lang="ar" sz="24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يدعو </a:t>
            </a:r>
            <a:r>
              <a:rPr lang="ar" sz="24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الإجراء 2.1</a:t>
            </a:r>
            <a:r>
              <a:rPr lang="ar" sz="24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إلى أن تكون المباني الجديدة نظيفة من البداية، بما في ذلك:</a:t>
            </a:r>
            <a:br>
              <a:rPr lang="ar" sz="24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/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يجب أن تدافع Cambridge عن قانون صافي الصفر للولاية، حيث تضع Massachusetts قوانين البناء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اعتماد القانون بمجرد أن تجعله الدولة ممكنًا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التخلص من مسارات استخدام الوقود الأحفوري في الإنشاءات الجديدة - وهي أفضل فرصة لكهربة المبنى بالكامل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نتائج المراق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حددت Massachusetts سياسات وبرامج للوصول إلى صافي الصفر بحلول عام 205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4"/>
            <a:ext cx="6323077" cy="4771843"/>
          </a:xfrm>
        </p:spPr>
        <p:txBody>
          <a:bodyPr>
            <a:noAutofit/>
          </a:bodyPr>
          <a:lstStyle/>
          <a:p>
            <a:pPr algn="r" rtl="1">
              <a:spcBef>
                <a:spcPts val="600"/>
              </a:spcBef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ن خارطة طريق إزالة الكربون من الولا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يوفر البناء الجديد الطريقة الأسهل والأكثر جاذبية من الناحية الاقتصادية لبدء إزالة الكربون عن قطاع المباني ..." 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يمكن لجميع المباني الجديدة تقريبًا، اتباع تصميم كهربائي فعال من حيث التكلفة ويزيد من راحة الركاب ويدفع تكاليفه بنفسه ..."</a:t>
            </a:r>
          </a:p>
          <a:p>
            <a:pPr algn="r" rtl="1">
              <a:spcBef>
                <a:spcPts val="600"/>
              </a:spcBef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نشأت Massachusetts قانون الامتداد المتخصص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ضع معايير أداء عالية، ويسمح ببناء المباني الجديدة مع امكانية استخدام الوقود الأحفوري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عتمدتها Cambridge في يناير 2023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921239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ن تحقيق أهدافنا المناخية يعني التخلص التدريجي من الوقود الأحفوري في البناء الجديد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algn="r" rtl="1">
              <a:spcBef>
                <a:spcPts val="600"/>
              </a:spcBef>
              <a:buNone/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هذا يعني أن المباني الجديدة يتم بناؤها بدون أنظمة الوقود الأحفوري مثل أفران الغاز أو سخانات المياه التي تعمل بالغاز.</a:t>
            </a:r>
          </a:p>
          <a:p>
            <a:pPr marL="342900" lvl="1" indent="-342900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نطبق على الغاز والنفط وأنواع الوقود الأحفوري الأخرى</a:t>
            </a:r>
          </a:p>
          <a:p>
            <a:pPr marL="0" lvl="1" indent="0" algn="r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algn="r" rtl="1">
              <a:spcBef>
                <a:spcPts val="600"/>
              </a:spcBef>
              <a:buNone/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جتازت العديد من المدن والدول الأخرى التي لديها التزامات مناخية متطلبات "عدم وجود غاز جديد" للمباني الجديدة.</a:t>
            </a:r>
          </a:p>
          <a:p>
            <a:pPr marL="0" lvl="1" indent="0" algn="r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862335" y="568355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426464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ُطلب من البنائين تركيب أنظمة كهربائية نظيفة بالكامل بدلاً من ذلك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عني عدم وجود وقود أحفوري أن المباني الجديدة يجب أن يتم بناؤها باستخدام أنظمة مثل المضخات الحرارية وسخانات المياه بمضخات الحرارة.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هواء النقي وفوائد جودة الهواء الداخلي موثقة جيدًا.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منع هذا أيضًا مطوري المباني الجديدة من تثبيت بنية تحتية جديدة للغاز والتي سيتعين إزالتها لاحقًا.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943776" y="67330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ول الأعما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لف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جراءات Cambridge لمعالجة تغير المناخ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ئحة جديد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رنامج مظاهرة خالٍ من الوقود الأحفوري في ولاية  Massachusetts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تطلبات المقترح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قضاء على استخدام الوقود الأحفوري في المباني الجديدة والتجديدات الكبرى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والخطوات التالية لاعتماد اللائحة</a:t>
            </a:r>
            <a:b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 أجو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56455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744202" cy="1049082"/>
          </a:xfrm>
        </p:spPr>
        <p:txBody>
          <a:bodyPr>
            <a:noAutofit/>
          </a:bodyPr>
          <a:lstStyle/>
          <a:p>
            <a:pPr algn="r" rtl="1"/>
            <a:r>
              <a:rPr lang="ar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نشأت Massachusetts برنامجًا توضيحيًا خاليًا من الوقود الأحفوري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2093"/>
            <a:ext cx="10744203" cy="4227775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محت الهيئة التشريعية في ولاية Massachusetts لعشرة أحياء بتنفيذ </a:t>
            </a:r>
            <a:r>
              <a:rPr lang="ar"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تطلبات خالية من الوقود الأحفوري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للبناء الجديد والتجديدات الرئيسية.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زء من</a:t>
            </a:r>
            <a:r>
              <a:rPr lang="ar"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قانون الطاقة النظيفة والرياح البحرية </a:t>
            </a: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قامت إدارة موارد الطاقة في ولاية Massachusetts بتطوير لوائح وقانون مقترح ("قاعدة نموذجية").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قدمت Cambridge ملاحظات إلى إدارة موارد الطاقة بخصوص تطوير اللوائح هذا الشتاء.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م إرسال اللوائح النهائية إلى الهيئة التشريعية في مايو.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41373" y="62288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ُمح لمدينة Cambridge بالمشاركة في برنامج مظاهرة Massachuset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65515"/>
            <a:ext cx="5059063" cy="448435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18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قدمت Cambridge التماسًا للقاعدة الداخلية من هذه السلطة في أبريل 2022، لذلك نحن مجتمع ذو أولوية.</a:t>
            </a:r>
          </a:p>
          <a:p>
            <a:pPr marL="0" indent="0" algn="r" rtl="1">
              <a:spcBef>
                <a:spcPts val="18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جب أن تفي المدينة أو البلدة بمتطلبات الإسكان الميسور التكلفة بنسبة 10٪ أو تقسيم المناطق حسب المجتمعات متعددة العائلات</a:t>
            </a:r>
          </a:p>
          <a:p>
            <a:pPr algn="r" rtl="1">
              <a:spcBef>
                <a:spcPts val="1800"/>
              </a:spcBef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ذا انسحب مجتمع ذي أولوية، فقد تختار إدارة موارد الطاقة مجتمعًا بديلًا. صوّتت كل من Somerville وBoston لدفع التماسات الحكم إلى الأمام.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70775" y="48741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162381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rtl="1"/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المدينة/القرية صوتت لاعتماد متطلبات خالية من الوقود الأحفوري</a:t>
            </a:r>
          </a:p>
          <a:p>
            <a:pPr algn="r" rtl="1"/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اعتبارًا من 10 يوليو 2023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ول الأعما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لف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جراءات Cambridge لمعالجة تغير المناخ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ئحة جديد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رنامج مظاهرة خالٍ من الوقود الأحفوري في ولاية  Massachusetts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تطلبات المقترح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قضاء على استخدام الوقود الأحفوري في المباني الجديدة والتجديدات الكبرى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والخطوات التالية لاعتماد اللائحة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 أجو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  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56455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تطلب البرنامج التوضيحي أن تكون المباني الجديدة والتجديدات الرئيسية خالية من الوقود الأحفوري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05433"/>
            <a:ext cx="6627878" cy="4344435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باني الجديدة مغطاة بالوقود الأحفوري.</a:t>
            </a: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تجديدات الرئيسية مغطاة ومحددة في لائحة الدولة (عادة 50٪ أو أكثر من مساحة أرضية المبنى).</a:t>
            </a: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عفاة حسب اللوائح الحكومية: المستشفيات والمكاتب الطبية والمختبرات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949184" y="1713821"/>
            <a:ext cx="3779520" cy="4278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algn="r" rtl="1"/>
            <a:r>
              <a:rPr lang="ar" sz="1600" b="0" i="0" u="sng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يشمل التعريف المحدد للتجديد الرئيسي ما يلي </a:t>
            </a: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من 1-2 منازل عائلية، منازل قروية: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تجديد 50٪ من المبنى إذا كانت تزيد مساحته عن 1000 square قدم مربع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إضافة square 1000 قدم مربع أو مضاعفة المبنى الحالي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تغيير استخدام 1000 square قدم مربع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لجميع أنواع المباني الأخرى: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تجديد 50٪ من مساحة المبنى إذا كانت تزيد عن 20000 square قدم مربع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إضافة 20000 square قدم مربع أو مضاعفة المبنى الحالي</a:t>
            </a:r>
          </a:p>
          <a:p>
            <a:pPr marL="742950" lvl="1" indent="-285750" algn="r" rtl="1">
              <a:buFont typeface="Arial" panose="020B0604020202020204" pitchFamily="34" charset="0"/>
              <a:buChar char="•"/>
            </a:pPr>
            <a:r>
              <a:rPr lang="ar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تغيير استخدام 20000 square قدم مربع أو المبنى بأكمله</a:t>
            </a:r>
          </a:p>
          <a:p>
            <a:pPr marL="742950" lvl="1" indent="-285750" algn="r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   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427961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815592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حتوي برنامج العرض التوضيحي الخالي من الوقود الأحفوري على مرسوم مقترح أو "نموذجي"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4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ا يغطيه المرسوم النموذجي</a:t>
            </a:r>
            <a:br>
              <a:rPr lang="ar" sz="24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 يجوز للمبنى استخدام الفحم أو النفط أو الغاز الطبيعي أو أنواع الوقود الأحفوري الأخرى في تشغيله</a:t>
            </a:r>
          </a:p>
          <a:p>
            <a:pPr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ن المفهوم عمومًا أن يشمل التدفئة وأنظمة الماء الساخن والإضاءة والطهي وتجفيف الملابس وأحمال العمليات التجارية المحتملة (مثل المطاعم والمنظفات الجافة)</a:t>
            </a:r>
          </a:p>
          <a:p>
            <a:pPr lvl="1" algn="r" rtl="1">
              <a:spcBef>
                <a:spcPts val="600"/>
              </a:spcBef>
            </a:pPr>
            <a:r>
              <a:rPr lang="ar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جوز لمدينة أو قرية أن تقترح إعفاءات محدودة أو تغييرات على القانون النموذجي مع تبرير</a:t>
            </a:r>
          </a:p>
          <a:p>
            <a:pPr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عتمد مرسوم النموذج على قانون البناء "المتخصص" الجديد (الذي تبنته Cambridge) ويلغي بشكل أساسي الخيارات التي تسمح باستخدام الوقود الأحفوري، مع توضيحين:</a:t>
            </a:r>
          </a:p>
          <a:p>
            <a:pPr lvl="1" algn="r" rtl="1">
              <a:spcBef>
                <a:spcPts val="1200"/>
              </a:spcBef>
            </a:pPr>
            <a:r>
              <a:rPr lang="ar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سمح باستخدام الغاز أو البروبان لتسخين المياه متعددة الأسر حتى عام 2027</a:t>
            </a:r>
          </a:p>
          <a:p>
            <a:pPr lvl="1" algn="r" rtl="1">
              <a:spcBef>
                <a:spcPts val="1200"/>
              </a:spcBef>
            </a:pPr>
            <a:r>
              <a:rPr lang="ar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وضح أن التجديدات الرئيسية لا يمكنها تركيب معدات وقود أحفوري </a:t>
            </a:r>
            <a:r>
              <a:rPr lang="ar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يدة</a:t>
            </a:r>
            <a:r>
              <a:rPr lang="ar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للتدفئة والماء الساخن والطبخ ، إلخ.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84914" y="507772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4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مرحباً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490441" cy="3053251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Susanne Rasmussen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، مديرة التخطيط البيئي والنقل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Nikhil Nadkarni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، مخطط مشروع الطاقة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Jennifer Ballew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، مخطط مشروع الاستدامة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Brad Pillen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، مخطط مشارك للطاقة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47377" y="54335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3200" b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يتم تسجيل هذا الاجتماع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815592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32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ستجري الدولة تقييمًا للنتائج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12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ُطلب من المدن والبلدات تقديم سجلات تصاريح البناء إلى مديرية موارد الطاقة، بما في ذلك أي تقارير عن درجات الطاقة. </a:t>
            </a:r>
          </a:p>
          <a:p>
            <a:pPr marL="0" indent="0" algn="r">
              <a:spcBef>
                <a:spcPts val="12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12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تصل مديرية موارد الطاقة إلى استخدام الطاقة من المرافق وتقدم تقريرًا عن تخفيضات الانبعاثات.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66473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815592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ول الأعما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لف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جراءات Cambridge لمعالجة تغير المناخ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ئحة جديد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رنامج مظاهرة خالٍ من الوقود الأحفوري في ولاية  Massachusetts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تطلبات المقترح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قضاء على استخدام الوقود الأحفوري في المباني الجديدة والتجديدات الكبرى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والخطوات التالية لاعتماد اللائحة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 أجو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607951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815592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للمجتمعات ذات الأولوية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12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جب أن تقدم Cambridge طلبها النهائي (بما في ذلك القانون المقترح والتاريخ النافذ) إلى مديرية موارد الطاقة بحلول </a:t>
            </a:r>
            <a:r>
              <a:rPr lang="ar"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 سبتمبر 2023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.</a:t>
            </a:r>
          </a:p>
          <a:p>
            <a:pPr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يؤدي عدم القيام بذلك إلى استبعادها من البرنامج</a:t>
            </a:r>
          </a:p>
          <a:p>
            <a:pPr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مكن للبلديات submit تقديم طلباتها applications في وقت مبكر إلى مديرية موارد الطاقة للحصول على ملاحظات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56455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744202" cy="1049082"/>
          </a:xfrm>
        </p:spPr>
        <p:txBody>
          <a:bodyPr>
            <a:noAutofit/>
          </a:bodyPr>
          <a:lstStyle/>
          <a:p>
            <a:pPr algn="r" rtl="1"/>
            <a:r>
              <a:rPr lang="ar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نحن نشارك المعلومات حول البرنامج مع سكان Cambridge وأصحاب المباني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Autofit/>
          </a:bodyPr>
          <a:lstStyle/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علومات المقدمة في هذا الويبينار والويبينار المزمع إقامته في 24 </a:t>
            </a:r>
            <a:r>
              <a:rPr lang="ar" sz="2400" b="0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يوليو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انخراط مع محترفي البناء في ندوات القوانين المتخصصة على الويب لهذا الأسبوع</a:t>
            </a:r>
          </a:p>
          <a:p>
            <a:pPr marL="685800" lvl="2" algn="r" rtl="1">
              <a:spcBef>
                <a:spcPts val="1200"/>
              </a:spcBef>
            </a:pPr>
            <a:r>
              <a:rPr lang="a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ثلاثاء 11 يوليو الساعة 4 مساءً: القانون التجاري المتخصص</a:t>
            </a:r>
          </a:p>
          <a:p>
            <a:pPr marL="685800" lvl="2" algn="r" rtl="1">
              <a:spcBef>
                <a:spcPts val="1200"/>
              </a:spcBef>
            </a:pPr>
            <a:r>
              <a:rPr lang="ar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أربعاء 12 يوليو، الساعة 4 مساءً: القانون السكني المتخصص</a:t>
            </a:r>
          </a:p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lyering الطيران في المساحات المجتمعية في جميع أنحاء Cambridge</a:t>
            </a:r>
          </a:p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عناصر الأخبار والمعلومات عبر الإنترنت</a:t>
            </a:r>
          </a:p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تواصل مع الجمعيات المقيمة وجمعيات الأعمال</a:t>
            </a:r>
          </a:p>
          <a:p>
            <a:pPr marL="228600" lvl="1"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علومات لأصحاب المباني الكبيرة ومهنيي المباني العاملين في Cambridg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491732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744202" cy="1049082"/>
          </a:xfrm>
        </p:spPr>
        <p:txBody>
          <a:bodyPr>
            <a:noAutofit/>
          </a:bodyPr>
          <a:lstStyle/>
          <a:p>
            <a:pPr rtl="1"/>
            <a:r>
              <a:rPr lang="ar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نريد ملاحظاتك حول كيف يمكن للمباني الجديدة والتجديدات الرئيسية في Cambridge أن تكون خالية من الوقود الأحفوري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4"/>
            <a:ext cx="10744203" cy="411380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1200"/>
              </a:spcBef>
              <a:buNone/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الإضافة إلى الحصول على التعليقات في الندوات عبر الإنترنت، تم إطلاق استطلاع عبر الإنترنت لجمع ملاحظات سكان Cambridge وأصحاب المباني، يغطي:</a:t>
            </a:r>
          </a:p>
          <a:p>
            <a:pPr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نواع محددة من المباني التي يجب أن نركز بحثنا عليها</a:t>
            </a:r>
          </a:p>
          <a:p>
            <a:pPr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ستخدامات محددة أو أنظمة بناء يجب علينا إجراء مزيد من البحث عليها</a:t>
            </a:r>
          </a:p>
          <a:p>
            <a:pPr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كيف يمكن أن تكون التجديدات الرئيسية خالية من الوقود الأحفوري</a:t>
            </a:r>
          </a:p>
          <a:p>
            <a:pPr algn="r" rtl="1">
              <a:spcBef>
                <a:spcPts val="12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واضيع أخرى يجب علينا البحث فيها</a:t>
            </a:r>
          </a:p>
          <a:p>
            <a:pPr marL="0" indent="0" algn="r" rtl="1">
              <a:spcBef>
                <a:spcPts val="1200"/>
              </a:spcBef>
              <a:buNone/>
            </a:pPr>
            <a:r>
              <a:rPr lang="ar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ومن المقرر أن يتم دمج ردود الاستبيان في العمل البحثي بحلول </a:t>
            </a:r>
            <a:r>
              <a:rPr lang="ar" sz="2400" b="1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7</a:t>
            </a:r>
            <a:r>
              <a:rPr lang="ar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يوليو.</a:t>
            </a:r>
          </a:p>
          <a:p>
            <a:pPr marL="0" indent="0" algn="r" rtl="1">
              <a:spcBef>
                <a:spcPts val="1200"/>
              </a:spcBef>
              <a:buNone/>
            </a:pPr>
            <a:r>
              <a:rPr lang="ar" sz="24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 //</a:t>
            </a:r>
            <a:r>
              <a:rPr lang="ar" sz="24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 bit.ly/FFFupdates</a:t>
            </a:r>
            <a:endParaRPr lang="en-US" sz="24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30246" y="534952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815592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خطوات التالية لمدينة Cambri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1200"/>
              </a:spcBef>
              <a:buNone/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نحن نعمل مع استشاري أبحاث لاستكشاف ما إذا كانت أي تغييرات على قاعدة النموذج مناسبة من خلال القيام بما يلي:</a:t>
            </a:r>
          </a:p>
          <a:p>
            <a:pPr lvl="1" algn="r" rtl="1">
              <a:spcBef>
                <a:spcPts val="1200"/>
              </a:spcBef>
            </a:pPr>
            <a:r>
              <a:rPr lang="ar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فحص أنواع المباني التي تم تشييدها أو تجديدها في كامبريدج</a:t>
            </a:r>
          </a:p>
          <a:p>
            <a:pPr lvl="1" algn="r" rtl="1">
              <a:spcBef>
                <a:spcPts val="1200"/>
              </a:spcBef>
            </a:pPr>
            <a:r>
              <a:rPr lang="ar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فهم أي قيود فنية لجميع المعدات الكهربائية لأنواع محددة من المباني أو الاستخدامات النهائية</a:t>
            </a:r>
          </a:p>
          <a:p>
            <a:pPr lvl="1" algn="r" rtl="1">
              <a:spcBef>
                <a:spcPts val="1200"/>
              </a:spcBef>
            </a:pPr>
            <a:r>
              <a:rPr lang="ar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راجعة كيف ستؤثر المتطلبات على أحمال العملية في Cambridge</a:t>
            </a:r>
          </a:p>
          <a:p>
            <a:pPr lvl="1" algn="r" rtl="1">
              <a:spcBef>
                <a:spcPts val="1200"/>
              </a:spcBef>
            </a:pPr>
            <a:r>
              <a:rPr lang="ar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مراجعة المدخلات الواردة من المسح لتضمينها في البحث</a:t>
            </a:r>
          </a:p>
          <a:p>
            <a:pPr marL="0" indent="0" algn="r">
              <a:spcBef>
                <a:spcPts val="12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1200"/>
              </a:spcBef>
              <a:buNone/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يناقش مجلس المدينة لغة القانون المقترحة في </a:t>
            </a:r>
            <a:r>
              <a:rPr lang="ar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جتماع لجنة القانون في 1 أغسطس</a:t>
            </a: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و</a:t>
            </a:r>
            <a:r>
              <a:rPr lang="ar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تصويت على </a:t>
            </a:r>
            <a:r>
              <a:rPr lang="ar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صيغة النهائية في 7 أغسطس</a:t>
            </a: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أجوب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41740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9851416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8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اللوحة السفلية لشاشة Zo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اطرح سؤال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8" y="664739"/>
            <a:ext cx="10701291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4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للمزيد من المعلومات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r" rtl="1"/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قم بزيارة صفحة الويب الخاصة بنا على </a:t>
            </a:r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 //</a:t>
            </a:r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ar" sz="28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bit.ly/FFFupdates</a:t>
            </a:r>
            <a:endParaRPr lang="en-US" b="1" dirty="0"/>
          </a:p>
          <a:p>
            <a:pPr algn="r" rtl="1"/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أكمل الاستطلاع بحلول 17 تموز (يوليو </a:t>
            </a:r>
            <a:r>
              <a:rPr lang="ar" sz="2800" b="0" i="0" u="none" strike="noStrike" baseline="30000" dirty="0">
                <a:highlight>
                  <a:srgbClr val="000000">
                    <a:alpha val="0"/>
                  </a:srgbClr>
                </a:highlight>
                <a:latin typeface="Calibri"/>
              </a:rPr>
              <a:t>)</a:t>
            </a:r>
            <a:endParaRPr lang="en-US" dirty="0"/>
          </a:p>
          <a:p>
            <a:pPr algn="r" rtl="1"/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ويبينار 24 يوليو</a:t>
            </a:r>
          </a:p>
          <a:p>
            <a:pPr algn="r" rtl="1"/>
            <a:r>
              <a:rPr lang="ar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تواصل مع براد على bpillen@cambridgema.gov</a:t>
            </a:r>
          </a:p>
          <a:p>
            <a:pPr algn="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85548" y="476860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شكرًا لك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471448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 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8" y="997150"/>
            <a:ext cx="10588515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4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تعليمات لطرح سؤال أو إبداء تعليق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4736983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8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اللوحة السفلية لشاشة Zoom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يوليو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اطرح سؤال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72771" y="582090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سنقوم بالرد على الأسئلة بعد العرض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 rtl="1"/>
            <a:r>
              <a:rPr lang="ar" sz="1800" b="1" i="1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لمسائل التقنية، يرجى إرسال بريد إلكتروني: jballew@cambridgema.gov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ول الأعما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444211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لف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جراءات Cambridge لمعالجة تغير المناخ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ئحة جديد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رنامج مظاهرة خالٍ من الوقود الأحفوري في ولاية  Massachusetts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تطلبات المقترح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قضاء على استخدام الوقود الأحفوري في المباني الجديدة والتجديدات الكبرى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والخطوات التالية لاعتماد اللائحة</a:t>
            </a:r>
            <a:b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 أجو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  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607951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جدول الأعما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677725"/>
            <a:ext cx="10515600" cy="4472144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لفي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إجراءات Cambridge لمعالجة تغير المناخ</a:t>
            </a:r>
            <a:br>
              <a:rPr lang="ar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ائحة جديد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برنامج مظاهرة خالٍ من الوقود الأحفوري في ولاية  Massachusetts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تطلبات المقترحة:</a:t>
            </a:r>
          </a:p>
          <a:p>
            <a:pPr lvl="1" algn="r" rtl="1">
              <a:spcBef>
                <a:spcPts val="600"/>
              </a:spcBef>
            </a:pPr>
            <a: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قضاء على استخدام الوقود الأحفوري في المباني الجديدة والتجديدات الكبرى</a:t>
            </a:r>
            <a:br>
              <a:rPr lang="ar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جدول الزمني والخطوات التالية لاعتماد اللائحة</a:t>
            </a:r>
            <a:b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أسئلة و أجوبة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 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607951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حافظت Cambridge على التزامها باتخاذ إجراءات بشأن تغير المناخ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573127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4692637" cy="3920561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تخذ Cambridge إجراءات من أجل:</a:t>
            </a:r>
          </a:p>
          <a:p>
            <a:pPr algn="r" rtl="1">
              <a:spcBef>
                <a:spcPts val="600"/>
              </a:spcBef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خفض انبعاثات غازات الاحتباس الحراري إلى الصفر بحلول عام 2050</a:t>
            </a:r>
          </a:p>
          <a:p>
            <a:pPr algn="r" rtl="1">
              <a:spcBef>
                <a:spcPts val="600"/>
              </a:spcBef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استعداد لتأثيرات المناخ  </a:t>
            </a:r>
          </a:p>
          <a:p>
            <a:pPr algn="r"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جزء من تحالف أكبر للمدن في منطقة Boston area التي التزمت بتحقيق هدف 2050.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نتج المباني معظم انبعاثات غازات الاحتباس الحراري (GHG) في Cambrid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72536" y="501292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238245" cy="4065037"/>
          </a:xfrm>
        </p:spPr>
        <p:txBody>
          <a:bodyPr>
            <a:noAutofit/>
          </a:bodyPr>
          <a:lstStyle/>
          <a:p>
            <a:pPr marL="0" indent="0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أتي انبعاثات المباني من استخدام الوقود الأحفوري في الموقع (الغاز والنفط وما إلى ذلك) ومن استخدام الكهرباء.</a:t>
            </a:r>
          </a:p>
          <a:p>
            <a:pPr marL="0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صبح الكهرباء أنظف كل عام ومن المتوقع أن تكون متجددة في الغالب بحلول عام 2030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1">
              <a:spcBef>
                <a:spcPct val="0"/>
              </a:spcBef>
              <a:spcAft>
                <a:spcPct val="0"/>
              </a:spcAft>
              <a:buNone/>
            </a:pPr>
            <a:r>
              <a:rPr lang="a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البنايات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1">
              <a:spcBef>
                <a:spcPct val="0"/>
              </a:spcBef>
              <a:spcAft>
                <a:spcPct val="0"/>
              </a:spcAft>
              <a:buNone/>
            </a:pPr>
            <a:r>
              <a:rPr lang="a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المواصلات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1">
              <a:spcBef>
                <a:spcPct val="0"/>
              </a:spcBef>
              <a:spcAft>
                <a:spcPct val="0"/>
              </a:spcAft>
              <a:buNone/>
            </a:pPr>
            <a:r>
              <a:rPr lang="ar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النفايات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hart 6" descr="83% of GHG emissions in Cambridge come from buildings&#10;">
            <a:extLst>
              <a:ext uri="{FF2B5EF4-FFF2-40B4-BE49-F238E27FC236}">
                <a16:creationId xmlns:a16="http://schemas.microsoft.com/office/drawing/2014/main" id="{3EE2CCFD-4B41-77D9-B4F1-690854EA0D4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09901800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815592" cy="1049082"/>
          </a:xfrm>
        </p:spPr>
        <p:txBody>
          <a:bodyPr>
            <a:noAutofit/>
          </a:bodyPr>
          <a:lstStyle/>
          <a:p>
            <a:pPr algn="r" rtl="1"/>
            <a:r>
              <a:rPr lang="ar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لدى Cambridge خطة عمل Net Zero طويلة المدى لتقليل الانبعاثات من المباني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99849" y="443747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م اعتماد خطة عمل Net Zero لأول مرة في عام 2015 وتم تحديثها من خلال عملية يقودها المجتمع في عام 2021.</a:t>
            </a:r>
          </a:p>
          <a:p>
            <a:pPr marL="0" indent="0" algn="r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algn="r" rtl="1">
              <a:spcBef>
                <a:spcPts val="600"/>
              </a:spcBef>
              <a:buNone/>
            </a:pP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حدد الخطة السياسات والبرامج للقضاء على انبعاثات غازات الاحتباس الحراري من </a:t>
            </a:r>
            <a:r>
              <a:rPr lang="ar"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المباني</a:t>
            </a:r>
            <a:r>
              <a:rPr lang="ar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بحلول عام 2050.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algn="r" rtl="1"/>
            <a:r>
              <a:rPr lang="ar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تتضمن خطة عمل Net Zero إجراءات لمعالجة الانبعاثات من المباني الحالية والجديد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9857" y="56455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مدينة Cambridge - قسم تنمية المجتمع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r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يوليو 2023         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9</TotalTime>
  <Words>1887</Words>
  <Application>Microsoft Office PowerPoint</Application>
  <PresentationFormat>Widescreen</PresentationFormat>
  <Paragraphs>248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برنامج عرض المباني الخالية من الوقود الأحفوري - نظرة عامة</vt:lpstr>
      <vt:lpstr>مرحباً</vt:lpstr>
      <vt:lpstr>تعليمات لطرح سؤال أو إبداء تعليق</vt:lpstr>
      <vt:lpstr>جدول الأعمال</vt:lpstr>
      <vt:lpstr>جدول الأعمال</vt:lpstr>
      <vt:lpstr>حافظت Cambridge على التزامها باتخاذ إجراءات بشأن تغير المناخ</vt:lpstr>
      <vt:lpstr>تنتج المباني معظم انبعاثات غازات الاحتباس الحراري (GHG) في Cambridge</vt:lpstr>
      <vt:lpstr>لدى Cambridge خطة عمل Net Zero طويلة المدى لتقليل الانبعاثات من المباني</vt:lpstr>
      <vt:lpstr>تتضمن خطة عمل Net Zero إجراءات لمعالجة الانبعاثات من المباني الحالية والجديدة</vt:lpstr>
      <vt:lpstr>تتضمن خطة عمل Net Zero إجراءات لمعالجة الانبعاثات من المباني الحالية والجديدة</vt:lpstr>
      <vt:lpstr>حددت Massachusetts سياسات وبرامج للوصول إلى صافي الصفر بحلول عام 2050</vt:lpstr>
      <vt:lpstr>إن تحقيق أهدافنا المناخية يعني التخلص التدريجي من الوقود الأحفوري في البناء الجديد</vt:lpstr>
      <vt:lpstr>يُطلب من البنائين تركيب أنظمة كهربائية نظيفة بالكامل بدلاً من ذلك  </vt:lpstr>
      <vt:lpstr>جدول الأعمال</vt:lpstr>
      <vt:lpstr>أنشأت Massachusetts برنامجًا توضيحيًا خاليًا من الوقود الأحفوري</vt:lpstr>
      <vt:lpstr>سُمح لمدينة Cambridge بالمشاركة في برنامج مظاهرة Massachusetts</vt:lpstr>
      <vt:lpstr>جدول الأعمال</vt:lpstr>
      <vt:lpstr>يتطلب البرنامج التوضيحي أن تكون المباني الجديدة والتجديدات الرئيسية خالية من الوقود الأحفوري</vt:lpstr>
      <vt:lpstr>يحتوي برنامج العرض التوضيحي الخالي من الوقود الأحفوري على مرسوم مقترح أو "نموذجي"</vt:lpstr>
      <vt:lpstr>ستجري الدولة تقييمًا للنتائج</vt:lpstr>
      <vt:lpstr>جدول الأعمال</vt:lpstr>
      <vt:lpstr>الجدول الزمني للمجتمعات ذات الأولوية</vt:lpstr>
      <vt:lpstr>نحن نشارك المعلومات حول البرنامج مع سكان Cambridge وأصحاب المباني</vt:lpstr>
      <vt:lpstr>نريد ملاحظاتك حول كيف يمكن للمباني الجديدة والتجديدات الرئيسية في Cambridge أن تكون خالية من الوقود الأحفوري</vt:lpstr>
      <vt:lpstr>الخطوات التالية لمدينة Cambridge</vt:lpstr>
      <vt:lpstr>أسئلة وأجوبة</vt:lpstr>
      <vt:lpstr>للمزيد من المعلومات</vt:lpstr>
      <vt:lpstr>شكرًا لك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0:0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